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"/>
  </p:notesMasterIdLst>
  <p:sldIdLst>
    <p:sldId id="259" r:id="rId2"/>
    <p:sldId id="261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125" autoAdjust="0"/>
  </p:normalViewPr>
  <p:slideViewPr>
    <p:cSldViewPr snapToGrid="0">
      <p:cViewPr varScale="1">
        <p:scale>
          <a:sx n="70" d="100"/>
          <a:sy n="70" d="100"/>
        </p:scale>
        <p:origin x="1204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51E285-8B63-43C2-8FDE-CC7328AB1439}" type="datetimeFigureOut">
              <a:rPr lang="en-US" smtClean="0"/>
              <a:t>6/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4E069-F8E3-432B-8224-000F0B3944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592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ype of projec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14E069-F8E3-432B-8224-000F0B39440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759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1305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739516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7841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729929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7948877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897653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07690582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04933441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3968423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65208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538172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8465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563921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21303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12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891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6379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78176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352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0266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173523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7" name="Footer"/>
          <p:cNvSpPr txBox="1"/>
          <p:nvPr/>
        </p:nvSpPr>
        <p:spPr bwMode="gray">
          <a:xfrm>
            <a:off x="914400" y="6481703"/>
            <a:ext cx="27241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8C8C8C"/>
                </a:solidFill>
              </a:rPr>
              <a:t>Footer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r>
              <a:rPr lang="en-US" sz="800" dirty="0">
                <a:solidFill>
                  <a:srgbClr val="8C8C8C"/>
                </a:solidFill>
              </a:rPr>
              <a:t>Copyright © 201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7549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6943" y="46409"/>
            <a:ext cx="8611117" cy="310907"/>
          </a:xfrm>
        </p:spPr>
        <p:txBody>
          <a:bodyPr/>
          <a:lstStyle/>
          <a:p>
            <a:r>
              <a:rPr lang="en-US" sz="2000" dirty="0" smtClean="0"/>
              <a:t>REFACTOR FACT!</a:t>
            </a:r>
            <a:r>
              <a:rPr lang="en-US" b="1" dirty="0">
                <a:solidFill>
                  <a:prstClr val="black"/>
                </a:solidFill>
              </a:rPr>
              <a:t/>
            </a:r>
            <a:br>
              <a:rPr lang="en-US" b="1" dirty="0">
                <a:solidFill>
                  <a:prstClr val="black"/>
                </a:solidFill>
              </a:rPr>
            </a:br>
            <a:endParaRPr lang="en-US" dirty="0"/>
          </a:p>
        </p:txBody>
      </p:sp>
      <p:sp>
        <p:nvSpPr>
          <p:cNvPr id="4" name="Rectangle 3"/>
          <p:cNvSpPr/>
          <p:nvPr/>
        </p:nvSpPr>
        <p:spPr bwMode="gray">
          <a:xfrm>
            <a:off x="356943" y="419735"/>
            <a:ext cx="3316223" cy="20960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What’s your team’s idea?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3761692" y="419735"/>
            <a:ext cx="5016548" cy="202492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What are the details of your idea?  (Add information if applicable)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56943" y="2276150"/>
            <a:ext cx="3317719" cy="20961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How would your idea add value to </a:t>
            </a:r>
            <a:r>
              <a:rPr lang="en-US" sz="800" b="1" dirty="0" smtClean="0">
                <a:solidFill>
                  <a:prstClr val="white"/>
                </a:solidFill>
              </a:rPr>
              <a:t>SI </a:t>
            </a:r>
            <a:r>
              <a:rPr lang="en-US" sz="800" b="1" dirty="0">
                <a:solidFill>
                  <a:prstClr val="white"/>
                </a:solidFill>
              </a:rPr>
              <a:t>culture? 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3752574" y="1818307"/>
            <a:ext cx="5025666" cy="216402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Tell us about </a:t>
            </a:r>
            <a:r>
              <a:rPr lang="en-US" sz="800" b="1">
                <a:solidFill>
                  <a:prstClr val="white"/>
                </a:solidFill>
              </a:rPr>
              <a:t>your scope</a:t>
            </a:r>
            <a:endParaRPr lang="en-US" sz="800" b="1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48990" y="629341"/>
            <a:ext cx="3309766" cy="83130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800" b="1" dirty="0"/>
              <a:t>Team’s idea is to enhance to FACT portal and maintain it on-going basis to track the various firm initiative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3752574" y="629345"/>
            <a:ext cx="5025666" cy="114545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n-US" sz="800" b="1" dirty="0" smtClean="0">
                <a:solidFill>
                  <a:srgbClr val="313131"/>
                </a:solidFill>
              </a:rPr>
              <a:t>1.Re-vamping the FACT site to make it more user friendly, accessible and transparent to SI </a:t>
            </a:r>
            <a:r>
              <a:rPr lang="en-US" sz="800" b="1" dirty="0" err="1" smtClean="0">
                <a:solidFill>
                  <a:srgbClr val="313131"/>
                </a:solidFill>
              </a:rPr>
              <a:t>practioners</a:t>
            </a:r>
            <a:r>
              <a:rPr lang="en-US" sz="800" b="1" dirty="0" smtClean="0">
                <a:solidFill>
                  <a:srgbClr val="313131"/>
                </a:solidFill>
              </a:rPr>
              <a:t> and also advertise the portal.</a:t>
            </a:r>
          </a:p>
          <a:p>
            <a:pPr>
              <a:lnSpc>
                <a:spcPct val="106000"/>
              </a:lnSpc>
            </a:pPr>
            <a:r>
              <a:rPr lang="en-US" sz="800" b="1" dirty="0" smtClean="0">
                <a:solidFill>
                  <a:srgbClr val="313131"/>
                </a:solidFill>
              </a:rPr>
              <a:t>2. Bring together people with similar skill sets and ideas.</a:t>
            </a:r>
          </a:p>
          <a:p>
            <a:pPr>
              <a:lnSpc>
                <a:spcPct val="106000"/>
              </a:lnSpc>
            </a:pPr>
            <a:endParaRPr lang="en-US" sz="800" b="1" dirty="0">
              <a:solidFill>
                <a:srgbClr val="313131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356943" y="2492475"/>
            <a:ext cx="3309766" cy="107774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n-US" sz="800" b="1" dirty="0" smtClean="0">
                <a:solidFill>
                  <a:srgbClr val="313131"/>
                </a:solidFill>
              </a:rPr>
              <a:t>To capture various firm initiatives and group people with similar ideas.</a:t>
            </a:r>
            <a:endParaRPr lang="en-US" sz="800" b="1" dirty="0" smtClean="0">
              <a:solidFill>
                <a:srgbClr val="31313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348990" y="3576939"/>
            <a:ext cx="3317719" cy="20961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Who are your team members and leader?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356944" y="3808259"/>
            <a:ext cx="3309766" cy="151253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1. Gurpreet Kaur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2. Anusha Konchada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3. Madhuri Pendyala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4. Saketh Emani</a:t>
            </a:r>
            <a:endParaRPr lang="en-US" sz="800" dirty="0">
              <a:solidFill>
                <a:srgbClr val="31313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356943" y="5320790"/>
            <a:ext cx="3317719" cy="20961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What are some key assumptions and or costs?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356944" y="5530400"/>
            <a:ext cx="3309766" cy="10736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/>
              <a:t>1. Current updated initiatives on FACT site. 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en-US" sz="800" dirty="0"/>
          </a:p>
        </p:txBody>
      </p:sp>
      <p:sp>
        <p:nvSpPr>
          <p:cNvPr id="23" name="Rectangle 22"/>
          <p:cNvSpPr/>
          <p:nvPr/>
        </p:nvSpPr>
        <p:spPr bwMode="gray">
          <a:xfrm>
            <a:off x="3761692" y="5336700"/>
            <a:ext cx="5016548" cy="1937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Do you anticipate any risk?  If yes, how do you plan to mitigate? 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3738685" y="5500495"/>
            <a:ext cx="5016548" cy="110350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0" rIns="88900" bIns="0" rtlCol="0" anchor="t" anchorCtr="0"/>
          <a:lstStyle/>
          <a:p>
            <a:pPr>
              <a:lnSpc>
                <a:spcPct val="106000"/>
              </a:lnSpc>
            </a:pPr>
            <a:endParaRPr lang="en-US" sz="1600" b="1" dirty="0" smtClean="0"/>
          </a:p>
          <a:p>
            <a:pPr>
              <a:lnSpc>
                <a:spcPct val="106000"/>
              </a:lnSpc>
            </a:pPr>
            <a:r>
              <a:rPr lang="en-US" sz="800" b="1" dirty="0" smtClean="0"/>
              <a:t>1. Unavailability of all the information on the FACT portal.</a:t>
            </a:r>
            <a:endParaRPr lang="en-US" sz="800" b="1" dirty="0"/>
          </a:p>
        </p:txBody>
      </p:sp>
      <p:sp>
        <p:nvSpPr>
          <p:cNvPr id="31" name="Rectangle 30"/>
          <p:cNvSpPr/>
          <p:nvPr/>
        </p:nvSpPr>
        <p:spPr bwMode="gray">
          <a:xfrm>
            <a:off x="356943" y="1774803"/>
            <a:ext cx="3309766" cy="47963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356943" y="1544832"/>
            <a:ext cx="3316223" cy="206707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700" b="1" dirty="0">
                <a:solidFill>
                  <a:prstClr val="white"/>
                </a:solidFill>
              </a:rPr>
              <a:t>To which </a:t>
            </a:r>
            <a:r>
              <a:rPr lang="en-US" sz="700" b="1" dirty="0" smtClean="0">
                <a:solidFill>
                  <a:prstClr val="white"/>
                </a:solidFill>
              </a:rPr>
              <a:t>SI </a:t>
            </a:r>
            <a:r>
              <a:rPr lang="en-US" sz="700" b="1" dirty="0">
                <a:solidFill>
                  <a:prstClr val="white"/>
                </a:solidFill>
              </a:rPr>
              <a:t>priority your idea is aligned to ? (Delete whichever is N/A)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3758142" y="3570224"/>
            <a:ext cx="5020098" cy="183365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prstClr val="white"/>
                </a:solidFill>
              </a:rPr>
              <a:t>How would you implement your idea?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3758142" y="3774301"/>
            <a:ext cx="5020098" cy="151480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endParaRPr lang="en-US" sz="800" b="1" dirty="0" smtClean="0">
              <a:solidFill>
                <a:srgbClr val="31313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3738685" y="2029340"/>
            <a:ext cx="5028051" cy="152017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758142" y="2096698"/>
            <a:ext cx="4319698" cy="152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Does your idea involve a process or is it an event/one-time happening</a:t>
            </a:r>
            <a:r>
              <a:rPr lang="en-US" sz="800" dirty="0" smtClean="0">
                <a:solidFill>
                  <a:srgbClr val="313131"/>
                </a:solidFill>
              </a:rPr>
              <a:t>? – Processes involved</a:t>
            </a:r>
            <a:endParaRPr lang="en-US" sz="800" dirty="0" smtClean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If an existing process, what is the process</a:t>
            </a:r>
            <a:r>
              <a:rPr lang="en-US" sz="800" dirty="0" smtClean="0">
                <a:solidFill>
                  <a:srgbClr val="313131"/>
                </a:solidFill>
              </a:rPr>
              <a:t>? – Existing FACT portal</a:t>
            </a:r>
            <a:endParaRPr lang="en-US" sz="800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313131"/>
                </a:solidFill>
              </a:rPr>
              <a:t>Where does the process start and end </a:t>
            </a:r>
            <a:r>
              <a:rPr lang="en-US" sz="800" dirty="0" smtClean="0">
                <a:solidFill>
                  <a:srgbClr val="313131"/>
                </a:solidFill>
              </a:rPr>
              <a:t>? – Process starts with revamping while ends when it is fully accessible.</a:t>
            </a:r>
            <a:endParaRPr lang="en-US" sz="800" dirty="0">
              <a:solidFill>
                <a:srgbClr val="31313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313131"/>
                </a:solidFill>
              </a:rPr>
              <a:t>What business components are included or excluded </a:t>
            </a:r>
            <a:r>
              <a:rPr lang="en-US" sz="800" dirty="0" smtClean="0">
                <a:solidFill>
                  <a:srgbClr val="313131"/>
                </a:solidFill>
              </a:rPr>
              <a:t>? - Included</a:t>
            </a:r>
            <a:endParaRPr lang="en-US" sz="800" dirty="0">
              <a:solidFill>
                <a:srgbClr val="313131"/>
              </a:solidFill>
            </a:endParaRP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What resources do you need? - </a:t>
            </a:r>
            <a:r>
              <a:rPr lang="en-US" sz="800" dirty="0"/>
              <a:t>1. Admin access to FACT sites</a:t>
            </a:r>
          </a:p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/>
              <a:t>2. Access to practitioner databas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313131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350091" y="1777906"/>
            <a:ext cx="3323470" cy="476534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71450" indent="-1714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800" dirty="0" smtClean="0"/>
              <a:t>Firm Activity Tracker</a:t>
            </a:r>
            <a:endParaRPr lang="en-US" sz="800" dirty="0" smtClean="0"/>
          </a:p>
        </p:txBody>
      </p:sp>
      <p:sp>
        <p:nvSpPr>
          <p:cNvPr id="30" name="Rectangle 29"/>
          <p:cNvSpPr/>
          <p:nvPr/>
        </p:nvSpPr>
        <p:spPr bwMode="gray">
          <a:xfrm>
            <a:off x="3781772" y="3773803"/>
            <a:ext cx="3225704" cy="1894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 smtClean="0">
                <a:solidFill>
                  <a:schemeClr val="bg1"/>
                </a:solidFill>
              </a:rPr>
              <a:t>Actions / Milestones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7031106" y="3774091"/>
            <a:ext cx="1741385" cy="1894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 smtClean="0">
                <a:solidFill>
                  <a:schemeClr val="bg1"/>
                </a:solidFill>
              </a:rPr>
              <a:t>Target Dat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750189" y="3983497"/>
            <a:ext cx="5016547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313131"/>
                </a:solidFill>
              </a:rPr>
              <a:t>What are the key milestones (e.g. team kickoff, major phase completion dates, UAT dates, go-live etc.) </a:t>
            </a:r>
            <a:r>
              <a:rPr lang="en-US" sz="800" dirty="0" smtClean="0">
                <a:solidFill>
                  <a:srgbClr val="313131"/>
                </a:solidFill>
              </a:rPr>
              <a:t>? – 1 month for advertising, 5 months- revamping, followed by on-going maintenance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rgbClr val="313131"/>
                </a:solidFill>
              </a:rPr>
              <a:t>In </a:t>
            </a:r>
            <a:r>
              <a:rPr lang="en-US" sz="800" dirty="0">
                <a:solidFill>
                  <a:srgbClr val="313131"/>
                </a:solidFill>
              </a:rPr>
              <a:t>what timeframe do we need to deliver these results </a:t>
            </a:r>
            <a:r>
              <a:rPr lang="en-US" sz="800" dirty="0" smtClean="0">
                <a:solidFill>
                  <a:srgbClr val="313131"/>
                </a:solidFill>
              </a:rPr>
              <a:t>? – 6 Months</a:t>
            </a:r>
            <a:endParaRPr lang="en-US" sz="8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849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36689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69</TotalTime>
  <Words>340</Words>
  <Application>Microsoft Office PowerPoint</Application>
  <PresentationFormat>On-screen Show (4:3)</PresentationFormat>
  <Paragraphs>3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Wingdings 2</vt:lpstr>
      <vt:lpstr>Deloitte_US_Onscreen</vt:lpstr>
      <vt:lpstr>think-cell Slide</vt:lpstr>
      <vt:lpstr>REFACTOR FACT! </vt:lpstr>
      <vt:lpstr>PowerPoint Presentatio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ea Concept</dc:title>
  <dc:creator>Panda, Satabdi</dc:creator>
  <cp:lastModifiedBy>Konchada, Anusha</cp:lastModifiedBy>
  <cp:revision>66</cp:revision>
  <dcterms:created xsi:type="dcterms:W3CDTF">2016-01-19T08:52:37Z</dcterms:created>
  <dcterms:modified xsi:type="dcterms:W3CDTF">2016-06-06T14:42:40Z</dcterms:modified>
</cp:coreProperties>
</file>